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2" r:id="rId5"/>
    <p:sldMasterId id="2147483682" r:id="rId6"/>
    <p:sldMasterId id="2147483687" r:id="rId7"/>
    <p:sldMasterId id="2147483700" r:id="rId8"/>
    <p:sldMasterId id="2147483706" r:id="rId9"/>
    <p:sldMasterId id="2147483720" r:id="rId10"/>
    <p:sldMasterId id="2147483725" r:id="rId11"/>
  </p:sldMasterIdLst>
  <p:notesMasterIdLst>
    <p:notesMasterId r:id="rId13"/>
  </p:notesMasterIdLst>
  <p:handoutMasterIdLst>
    <p:handoutMasterId r:id="rId14"/>
  </p:handoutMasterIdLst>
  <p:sldIdLst>
    <p:sldId id="1509" r:id="rId12"/>
  </p:sldIdLst>
  <p:sldSz cx="9144000" cy="5143500" type="screen16x9"/>
  <p:notesSz cx="14355763" cy="9926638"/>
  <p:custDataLst>
    <p:tags r:id="rId15"/>
  </p:custDataLst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07ACB740-76C1-4CDA-8418-66AF3E0D2E12}">
          <p14:sldIdLst>
            <p14:sldId id="1509"/>
          </p14:sldIdLst>
        </p14:section>
        <p14:section name="Backups" id="{D810126B-E50F-454F-B287-B98F5DC8609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4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erry Fraudet" initials="TF" lastIdx="5" clrIdx="0"/>
  <p:cmAuthor id="2" name="Lea" initials="L" lastIdx="1" clrIdx="1">
    <p:extLst>
      <p:ext uri="{19B8F6BF-5375-455C-9EA6-DF929625EA0E}">
        <p15:presenceInfo xmlns:p15="http://schemas.microsoft.com/office/powerpoint/2012/main" userId="Lea" providerId="None"/>
      </p:ext>
    </p:extLst>
  </p:cmAuthor>
  <p:cmAuthor id="3" name="NICOLAS CHEVALIER" initials="NC" lastIdx="1" clrIdx="2">
    <p:extLst>
      <p:ext uri="{19B8F6BF-5375-455C-9EA6-DF929625EA0E}">
        <p15:presenceInfo xmlns:p15="http://schemas.microsoft.com/office/powerpoint/2012/main" userId="0b620b125fcccd4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B48E"/>
    <a:srgbClr val="95C11F"/>
    <a:srgbClr val="ADD8F1"/>
    <a:srgbClr val="F39200"/>
    <a:srgbClr val="5FBFBB"/>
    <a:srgbClr val="FFE48F"/>
    <a:srgbClr val="FFDB69"/>
    <a:srgbClr val="9BBB59"/>
    <a:srgbClr val="00CC9B"/>
    <a:srgbClr val="2750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F6E7AD-D1BE-A74F-B01B-4BBB00BFE793}" v="77" dt="2020-10-19T11:59:39.523"/>
    <p1510:client id="{97B31072-F29B-4DD0-BCF0-3076B52BE879}" v="2" dt="2020-10-20T16:18:54.7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003" autoAdjust="0"/>
    <p:restoredTop sz="94167" autoAdjust="0"/>
  </p:normalViewPr>
  <p:slideViewPr>
    <p:cSldViewPr snapToGrid="0">
      <p:cViewPr varScale="1">
        <p:scale>
          <a:sx n="150" d="100"/>
          <a:sy n="150" d="100"/>
        </p:scale>
        <p:origin x="174" y="63"/>
      </p:cViewPr>
      <p:guideLst>
        <p:guide orient="horz" pos="1597"/>
        <p:guide pos="2426"/>
      </p:guideLst>
    </p:cSldViewPr>
  </p:slideViewPr>
  <p:outlineViewPr>
    <p:cViewPr>
      <p:scale>
        <a:sx n="33" d="100"/>
        <a:sy n="33" d="100"/>
      </p:scale>
      <p:origin x="0" y="80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 varScale="1">
        <p:scale>
          <a:sx n="114" d="100"/>
          <a:sy n="114" d="100"/>
        </p:scale>
        <p:origin x="2376" y="45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9BFAC1C7-9E5D-4441-A8DE-D4FA72AEF22D}" type="datetimeFigureOut">
              <a:rPr lang="fr-FR" smtClean="0"/>
              <a:t>20/10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3549939F-CAB9-FE40-8FD3-31C143F5FB1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04252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D15EC3C-BFA7-9E4C-BB13-BAA5658834CA}" type="datetimeFigureOut">
              <a:rPr lang="fr-FR" smtClean="0"/>
              <a:t>20/10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68738" y="744538"/>
            <a:ext cx="661828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97545" y="4715155"/>
            <a:ext cx="12648142" cy="3116537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5DEDB5E3-C477-CC4C-8674-BAC7A0562584}" type="slidenum">
              <a:rPr lang="fr-FR" smtClean="0"/>
              <a:t>‹N°›</a:t>
            </a:fld>
            <a:endParaRPr lang="fr-FR"/>
          </a:p>
        </p:txBody>
      </p:sp>
      <p:pic>
        <p:nvPicPr>
          <p:cNvPr id="9" name="Graphique 8" descr="Cible">
            <a:extLst>
              <a:ext uri="{FF2B5EF4-FFF2-40B4-BE49-F238E27FC236}">
                <a16:creationId xmlns:a16="http://schemas.microsoft.com/office/drawing/2014/main" id="{D55A4087-F0C7-4BFF-885C-5D4194568E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133806"/>
            <a:ext cx="1914102" cy="992664"/>
          </a:xfrm>
          <a:prstGeom prst="rect">
            <a:avLst/>
          </a:prstGeom>
        </p:spPr>
      </p:pic>
      <p:sp>
        <p:nvSpPr>
          <p:cNvPr id="10" name="Espace réservé des commentaires 4">
            <a:extLst>
              <a:ext uri="{FF2B5EF4-FFF2-40B4-BE49-F238E27FC236}">
                <a16:creationId xmlns:a16="http://schemas.microsoft.com/office/drawing/2014/main" id="{9EA060DA-AD3F-4E58-9E10-24B2ED513D81}"/>
              </a:ext>
            </a:extLst>
          </p:cNvPr>
          <p:cNvSpPr txBox="1">
            <a:spLocks/>
          </p:cNvSpPr>
          <p:nvPr/>
        </p:nvSpPr>
        <p:spPr>
          <a:xfrm>
            <a:off x="1996306" y="8002211"/>
            <a:ext cx="10796666" cy="116242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1070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From idea to retirement</a:t>
            </a:r>
            <a:endParaRPr lang="fr-FR" sz="1800" dirty="0"/>
          </a:p>
          <a:p>
            <a:r>
              <a:rPr lang="en-GB" sz="1800" dirty="0"/>
              <a:t>LEAN AGILE = Succession of MVP</a:t>
            </a:r>
            <a:endParaRPr lang="fr-FR" sz="1800" dirty="0"/>
          </a:p>
          <a:p>
            <a:r>
              <a:rPr lang="en-GB" sz="1800" dirty="0"/>
              <a:t>Architecture : Key at the scoping phase</a:t>
            </a:r>
            <a:endParaRPr lang="fr-FR" sz="1800" dirty="0"/>
          </a:p>
          <a:p>
            <a:r>
              <a:rPr lang="en-GB" sz="1800" dirty="0"/>
              <a:t>Architecture : Continuous and closes to the sprint functional and technical issues</a:t>
            </a:r>
          </a:p>
          <a:p>
            <a:endParaRPr lang="en-GB" sz="1800" dirty="0"/>
          </a:p>
          <a:p>
            <a:r>
              <a:rPr lang="en-US" sz="1800" dirty="0"/>
              <a:t>IDEA TO RETIREMENT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MVP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ARCHITECTURE RITUAL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EDB5E3-C477-CC4C-8674-BAC7A0562584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480853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graphicFrame>
        <p:nvGraphicFramePr>
          <p:cNvPr id="11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86247098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2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2385" y="222917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6321" y="4227180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907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81153" y="154662"/>
            <a:ext cx="2240866" cy="117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519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9" name="Image 8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197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 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7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470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592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514600" y="2037915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931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71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27339-EA36-444E-85CB-9D714C78FFA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9252" lvl="1"/>
            <a:endParaRPr lang="en-US" sz="1100" dirty="0">
              <a:latin typeface="Michelin Black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33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767536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201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6005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4394" y="4046923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14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2604910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4382" y="469687"/>
            <a:ext cx="5539619" cy="396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47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053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9840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85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1069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3" name="Image 2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10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55455220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31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75451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438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2898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914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36039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8740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8115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887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1120244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8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9366676"/>
              </p:ext>
            </p:extLst>
          </p:nvPr>
        </p:nvGraphicFramePr>
        <p:xfrm>
          <a:off x="-1" y="4970026"/>
          <a:ext cx="6604001" cy="180044"/>
        </p:xfrm>
        <a:graphic>
          <a:graphicData uri="http://schemas.openxmlformats.org/drawingml/2006/table">
            <a:tbl>
              <a:tblPr/>
              <a:tblGrid>
                <a:gridCol w="2469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7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09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3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88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9961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455331" y="1927844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6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54763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10363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289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4891"/>
          </a:p>
        </p:txBody>
      </p:sp>
    </p:spTree>
    <p:extLst>
      <p:ext uri="{BB962C8B-B14F-4D97-AF65-F5344CB8AC3E}">
        <p14:creationId xmlns:p14="http://schemas.microsoft.com/office/powerpoint/2010/main" val="4140284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3675" y="4031358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7128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33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54711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1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731" r:id="rId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058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5299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732" r:id="rId4"/>
    <p:sldLayoutId id="2147483713" r:id="rId5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17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7" r:id="rId2"/>
    <p:sldLayoutId id="214748369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83539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52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37399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084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777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35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" y="1318024"/>
            <a:ext cx="8992996" cy="2957572"/>
          </a:xfrm>
          <a:prstGeom prst="rect">
            <a:avLst/>
          </a:prstGeom>
        </p:spPr>
      </p:pic>
      <p:sp>
        <p:nvSpPr>
          <p:cNvPr id="177" name="Rectangle : coins arrondis 176">
            <a:extLst>
              <a:ext uri="{FF2B5EF4-FFF2-40B4-BE49-F238E27FC236}">
                <a16:creationId xmlns:a16="http://schemas.microsoft.com/office/drawing/2014/main" id="{131A9650-2F03-4752-9F04-7E7400661AA3}"/>
              </a:ext>
            </a:extLst>
          </p:cNvPr>
          <p:cNvSpPr/>
          <p:nvPr/>
        </p:nvSpPr>
        <p:spPr>
          <a:xfrm>
            <a:off x="875377" y="77537"/>
            <a:ext cx="8240048" cy="4972807"/>
          </a:xfrm>
          <a:solidFill>
            <a:schemeClr val="bg1"/>
          </a:solidFill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19843C6D-C7D7-49A0-BB70-1899FE48DB69}"/>
              </a:ext>
            </a:extLst>
          </p:cNvPr>
          <p:cNvSpPr txBox="1"/>
          <p:nvPr/>
        </p:nvSpPr>
        <p:spPr>
          <a:xfrm>
            <a:off x="2724904" y="1000452"/>
            <a:ext cx="188118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>
                <a:solidFill>
                  <a:srgbClr val="95C11F"/>
                </a:solidFill>
                <a:latin typeface="Gotham Rounded Bold" pitchFamily="50" charset="0"/>
              </a:rPr>
              <a:t>WEEKLY ARCHITECTURE</a:t>
            </a:r>
          </a:p>
          <a:p>
            <a:pPr algn="ctr"/>
            <a:r>
              <a:rPr lang="fr-FR" sz="900" dirty="0">
                <a:solidFill>
                  <a:srgbClr val="95C11F"/>
                </a:solidFill>
                <a:latin typeface="Gotham Rounded Bold" pitchFamily="50" charset="0"/>
              </a:rPr>
              <a:t>MEETING </a:t>
            </a:r>
          </a:p>
          <a:p>
            <a:pPr algn="ctr"/>
            <a:r>
              <a:rPr lang="fr-FR" sz="900" dirty="0">
                <a:solidFill>
                  <a:srgbClr val="95C11F"/>
                </a:solidFill>
                <a:latin typeface="Gotham Rounded Bold" pitchFamily="50" charset="0"/>
              </a:rPr>
              <a:t>(CONTINUOUS DECISION)</a:t>
            </a:r>
          </a:p>
        </p:txBody>
      </p:sp>
      <p:cxnSp>
        <p:nvCxnSpPr>
          <p:cNvPr id="123" name="Connecteur droit 122">
            <a:extLst>
              <a:ext uri="{FF2B5EF4-FFF2-40B4-BE49-F238E27FC236}">
                <a16:creationId xmlns:a16="http://schemas.microsoft.com/office/drawing/2014/main" id="{57176453-0895-438F-9C67-55204ABB19D3}"/>
              </a:ext>
            </a:extLst>
          </p:cNvPr>
          <p:cNvCxnSpPr>
            <a:cxnSpLocks/>
            <a:endCxn id="3" idx="2"/>
          </p:cNvCxnSpPr>
          <p:nvPr/>
        </p:nvCxnSpPr>
        <p:spPr>
          <a:xfrm flipH="1" flipV="1">
            <a:off x="3665497" y="1508283"/>
            <a:ext cx="373856" cy="393644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id="{E6C534F6-8B7E-43E0-BA83-3C3E9BEB63F3}"/>
              </a:ext>
            </a:extLst>
          </p:cNvPr>
          <p:cNvSpPr txBox="1"/>
          <p:nvPr/>
        </p:nvSpPr>
        <p:spPr>
          <a:xfrm>
            <a:off x="727326" y="4378386"/>
            <a:ext cx="1787274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>
                <a:solidFill>
                  <a:srgbClr val="95C11F"/>
                </a:solidFill>
                <a:latin typeface="Gotham Rounded Bold" pitchFamily="50" charset="0"/>
              </a:rPr>
              <a:t>ARCHITECTURE  WORKSHOP </a:t>
            </a:r>
          </a:p>
          <a:p>
            <a:pPr algn="ctr"/>
            <a:r>
              <a:rPr lang="fr-FR" sz="900" dirty="0">
                <a:solidFill>
                  <a:srgbClr val="95C11F"/>
                </a:solidFill>
                <a:latin typeface="Gotham Rounded Bold" pitchFamily="50" charset="0"/>
              </a:rPr>
              <a:t>(ALIGNEMENT WITHIN SCOPING 360°)</a:t>
            </a:r>
          </a:p>
          <a:p>
            <a:pPr algn="ctr"/>
            <a:endParaRPr lang="fr-FR" sz="900" dirty="0">
              <a:solidFill>
                <a:srgbClr val="95C11F"/>
              </a:solidFill>
              <a:latin typeface="Gotham Rounded Bold" pitchFamily="50" charset="0"/>
            </a:endParaRPr>
          </a:p>
        </p:txBody>
      </p:sp>
      <p:cxnSp>
        <p:nvCxnSpPr>
          <p:cNvPr id="134" name="Connecteur droit 133">
            <a:extLst>
              <a:ext uri="{FF2B5EF4-FFF2-40B4-BE49-F238E27FC236}">
                <a16:creationId xmlns:a16="http://schemas.microsoft.com/office/drawing/2014/main" id="{227D4443-9B00-431D-B711-DCC08DFBD025}"/>
              </a:ext>
            </a:extLst>
          </p:cNvPr>
          <p:cNvCxnSpPr>
            <a:cxnSpLocks/>
            <a:stCxn id="13" idx="0"/>
          </p:cNvCxnSpPr>
          <p:nvPr/>
        </p:nvCxnSpPr>
        <p:spPr>
          <a:xfrm flipH="1" flipV="1">
            <a:off x="1076325" y="3495675"/>
            <a:ext cx="544638" cy="882711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>
            <a:extLst>
              <a:ext uri="{FF2B5EF4-FFF2-40B4-BE49-F238E27FC236}">
                <a16:creationId xmlns:a16="http://schemas.microsoft.com/office/drawing/2014/main" id="{45C44E66-7937-4940-BA7D-6074F1AD04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429" y="32567"/>
            <a:ext cx="1326282" cy="1640849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1E9107AF-7E3D-405B-81CA-46D8CFC908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04211" y="4560635"/>
            <a:ext cx="1436370" cy="582865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3C312AD0-C80B-4843-BA4D-433E397961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35435" y="68076"/>
            <a:ext cx="1416136" cy="137380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824C663D-FF9D-4FA3-9374-CC3C8964E9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77288" y="4957536"/>
            <a:ext cx="440270" cy="197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9872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1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345BF31-44AE-4465-BECF-E43C8C381D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C97AAC-D16A-478F-95B1-E9944B8633B3}">
  <ds:schemaRefs>
    <ds:schemaRef ds:uri="http://schemas.microsoft.com/office/2006/documentManagement/types"/>
    <ds:schemaRef ds:uri="http://schemas.microsoft.com/office/2006/metadata/properties"/>
    <ds:schemaRef ds:uri="e2e26994-5e48-4994-8c16-0b6f61c4bc8a"/>
    <ds:schemaRef ds:uri="http://purl.org/dc/elements/1.1/"/>
    <ds:schemaRef ds:uri="http://purl.org/dc/dcmitype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9f09b4db-7fdb-4a79-a1ce-e7e1d5ac2b17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A2FB357-39F9-4620-BA55-18BC34E057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3</Words>
  <Application>Microsoft Office PowerPoint</Application>
  <PresentationFormat>Affichage à l'écran (16:9)</PresentationFormat>
  <Paragraphs>16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20" baseType="lpstr">
      <vt:lpstr>Arial</vt:lpstr>
      <vt:lpstr>Calibri</vt:lpstr>
      <vt:lpstr>Gotham Rounded Bold</vt:lpstr>
      <vt:lpstr>Lucida Grande</vt:lpstr>
      <vt:lpstr>Michelin</vt:lpstr>
      <vt:lpstr>Michelin Black</vt:lpstr>
      <vt:lpstr>Michelin SemiBold</vt:lpstr>
      <vt:lpstr>Rounded Elegance</vt:lpstr>
      <vt:lpstr>Wingdings</vt:lpstr>
      <vt:lpstr>Wingdings 3</vt:lpstr>
      <vt:lpstr>SLIDE 1</vt:lpstr>
      <vt:lpstr>CHAPITRE</vt:lpstr>
      <vt:lpstr>CONTENU</vt:lpstr>
      <vt:lpstr>FIN</vt:lpstr>
      <vt:lpstr>1_CONTENU</vt:lpstr>
      <vt:lpstr>2_CONTENU</vt:lpstr>
      <vt:lpstr>3_CONTENU</vt:lpstr>
      <vt:lpstr>4_CONTENU</vt:lpstr>
      <vt:lpstr>Diapositive think-cell</vt:lpstr>
      <vt:lpstr>Présentation PowerPoint</vt:lpstr>
    </vt:vector>
  </TitlesOfParts>
  <Company>GLUEND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 a digital Information system EA Steering, March 22nd</dc:title>
  <dc:creator>Nicolas CHEVALIER</dc:creator>
  <cp:lastModifiedBy>nicolas chevalier</cp:lastModifiedBy>
  <cp:revision>574</cp:revision>
  <cp:lastPrinted>2020-01-14T15:27:55Z</cp:lastPrinted>
  <dcterms:modified xsi:type="dcterms:W3CDTF">2020-10-20T16:1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